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4"/>
  </p:notesMasterIdLst>
  <p:handoutMasterIdLst>
    <p:handoutMasterId r:id="rId5"/>
  </p:handoutMasterIdLst>
  <p:sldIdLst>
    <p:sldId id="610" r:id="rId2"/>
    <p:sldId id="605" r:id="rId3"/>
  </p:sldIdLst>
  <p:sldSz cx="12192000" cy="6858000"/>
  <p:notesSz cx="6799263" cy="98758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Владелец процесса" id="{E9003546-BC2F-4E63-815A-EF1386473245}">
          <p14:sldIdLst>
            <p14:sldId id="610"/>
            <p14:sldId id="60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Снеткова Анна Сергеевна" initials="САС" lastIdx="10" clrIdx="0">
    <p:extLst>
      <p:ext uri="{19B8F6BF-5375-455C-9EA6-DF929625EA0E}">
        <p15:presenceInfo xmlns:p15="http://schemas.microsoft.com/office/powerpoint/2012/main" userId="S-1-5-21-12604286-1394344279-468603755-129940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970A6"/>
    <a:srgbClr val="27A39C"/>
    <a:srgbClr val="D9BED7"/>
    <a:srgbClr val="F5F5F5"/>
    <a:srgbClr val="78B9D9"/>
    <a:srgbClr val="75B4B1"/>
    <a:srgbClr val="9DC3E6"/>
    <a:srgbClr val="1B56B2"/>
    <a:srgbClr val="A9D5D8"/>
    <a:srgbClr val="A8D5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1E171933-4619-4E11-9A3F-F7608DF75F80}" styleName="Средний стиль 1 —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ED083AE6-46FA-4A59-8FB0-9F97EB10719F}" styleName="Светлый стиль 3 — акцент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D27102A9-8310-4765-A935-A1911B00CA55}" styleName="Светлый стиль 1 — акцент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799" autoAdjust="0"/>
  </p:normalViewPr>
  <p:slideViewPr>
    <p:cSldViewPr snapToGrid="0">
      <p:cViewPr varScale="1">
        <p:scale>
          <a:sx n="114" d="100"/>
          <a:sy n="114" d="100"/>
        </p:scale>
        <p:origin x="84" y="11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407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-4952"/>
    </p:cViewPr>
  </p:sorterViewPr>
  <p:notesViewPr>
    <p:cSldViewPr snapToGrid="0">
      <p:cViewPr varScale="1">
        <p:scale>
          <a:sx n="63" d="100"/>
          <a:sy n="63" d="100"/>
        </p:scale>
        <p:origin x="2069" y="53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347" cy="49550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1342" y="1"/>
            <a:ext cx="2946347" cy="49550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E0FDA12-B6AF-455F-90D9-2CD609E7F4CC}" type="datetimeFigureOut">
              <a:rPr lang="ru-RU" smtClean="0"/>
              <a:t>20.10.2023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380333"/>
            <a:ext cx="2946347" cy="49550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1342" y="9380333"/>
            <a:ext cx="2946347" cy="49550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F9E57A4-3FB6-485C-8BE4-956B13B4E11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00400609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347" cy="49550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1342" y="1"/>
            <a:ext cx="2946347" cy="49550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B6D942-0920-4F16-BA9E-4070D4EE5EC6}" type="datetimeFigureOut">
              <a:rPr lang="ru-RU" smtClean="0"/>
              <a:t>20.10.2023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38150" y="1235075"/>
            <a:ext cx="5922963" cy="33321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927" y="4752748"/>
            <a:ext cx="5439410" cy="388861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80333"/>
            <a:ext cx="2946347" cy="49550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1342" y="9380333"/>
            <a:ext cx="2946347" cy="49550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6E93F70-AF3A-46AD-BE14-AA9CA09E915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00303830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http://197AE29371925D230213A26282C6B6B3.dms.sberbank.ru/197AE29371925D230213A26282C6B6B3-E1BBC32C842FB5D00B0141A041803294-2786911AE503A3DF594B6BD0507950DA/1.png" TargetMode="External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http://197AE29371925D230213A26282C6B6B3.dms.sberbank.ru/197AE29371925D230213A26282C6B6B3-E1BBC32C842FB5D00B0141A041803294-2786911AE503A3DF594B6BD0507950DA/1.png" TargetMode="Externa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http://197AE29371925D230213A26282C6B6B3.dms.sberbank.ru/197AE29371925D230213A26282C6B6B3-E1BBC32C842FB5D00B0141A041803294-46081455960DEA0386613F7D135FE31B/1.png" TargetMode="External"/><Relationship Id="rId5" Type="http://schemas.openxmlformats.org/officeDocument/2006/relationships/image" Target="http://197AE29371925D230213A26282C6B6B3.dms.sberbank.ru/197AE29371925D230213A26282C6B6B3-E1BBC32C842FB5D00B0141A041803294-8D50C9B624F1DF7A21B88D23FBB7119D/1.png" TargetMode="External"/><Relationship Id="rId4" Type="http://schemas.openxmlformats.org/officeDocument/2006/relationships/image" Target="http://197AE29371925D230213A26282C6B6B3.dms.sberbank.ru/197AE29371925D230213A26282C6B6B3-E1BBC32C842FB5D00B0141A041803294-8E0593C4B92A28F519390677A2482F7B/1.png" TargetMode="Externa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http://197AE29371925D230213A26282C6B6B3.dms.sberbank.ru/197AE29371925D230213A26282C6B6B3-E1BBC32C842FB5D00B0141A041803294-2786911AE503A3DF594B6BD0507950DA/1.png" TargetMode="External"/><Relationship Id="rId4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27BBB9A2-7BE2-4C5C-AAEC-07B53A728696}"/>
              </a:ext>
            </a:extLst>
          </p:cNvPr>
          <p:cNvSpPr txBox="1"/>
          <p:nvPr userDrawn="1"/>
        </p:nvSpPr>
        <p:spPr>
          <a:xfrm>
            <a:off x="6986049" y="6557048"/>
            <a:ext cx="517691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CC37E7C-B5BB-4CCD-9279-93DE0E828F29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5F9C9D">
                    <a:lumMod val="40000"/>
                    <a:lumOff val="6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Arial" pitchFamily="34" charset="0"/>
                <a:sym typeface="Webding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F9C9D">
                    <a:lumMod val="40000"/>
                    <a:lumOff val="6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Arial" pitchFamily="34" charset="0"/>
                <a:sym typeface="Webdings"/>
              </a:rPr>
              <a:t> 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5F9C9D">
                  <a:lumMod val="40000"/>
                  <a:lumOff val="6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pic>
        <p:nvPicPr>
          <p:cNvPr id="13" name="Рисунок 12" descr="http://197AE29371925D230213A26282C6B6B3.dms.sberbank.ru/197AE29371925D230213A26282C6B6B3-E1BBC32C842FB5D00B0141A041803294-2786911AE503A3DF594B6BD0507950DA/1.png"/>
          <p:cNvPicPr>
            <a:picLocks/>
          </p:cNvPicPr>
          <p:nvPr userDrawn="1"/>
        </p:nvPicPr>
        <p:blipFill>
          <a:blip r:link="rId2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4" name="Рисунок 13" descr="http://197AE29371925D230213A26282C6B6B3.dms.sberbank.ru/197AE29371925D230213A26282C6B6B3-E1BBC32C842FB5D00B0141A041803294-2786911AE503A3DF594B6BD0507950DA/1.png"/>
          <p:cNvPicPr>
            <a:picLocks/>
          </p:cNvPicPr>
          <p:nvPr userDrawn="1"/>
        </p:nvPicPr>
        <p:blipFill>
          <a:blip r:link="rId2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1140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Титульный слайд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с одним скругленным углом 11"/>
          <p:cNvSpPr/>
          <p:nvPr userDrawn="1"/>
        </p:nvSpPr>
        <p:spPr>
          <a:xfrm rot="10800000" flipV="1">
            <a:off x="8650513" y="1020278"/>
            <a:ext cx="3541486" cy="5837722"/>
          </a:xfrm>
          <a:prstGeom prst="round1Rect">
            <a:avLst>
              <a:gd name="adj" fmla="val 50000"/>
            </a:avLst>
          </a:prstGeom>
          <a:gradFill flip="none" rotWithShape="1">
            <a:gsLst>
              <a:gs pos="78000">
                <a:srgbClr val="179995"/>
              </a:gs>
              <a:gs pos="24000">
                <a:srgbClr val="1B56B2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/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7932" r="65201" b="49906"/>
          <a:stretch/>
        </p:blipFill>
        <p:spPr>
          <a:xfrm>
            <a:off x="7271658" y="1564970"/>
            <a:ext cx="4920342" cy="5293030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9ACE828C-63CE-4942-AC8A-D02FBA47E37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90626" y="328555"/>
            <a:ext cx="573094" cy="544439"/>
          </a:xfrm>
          <a:prstGeom prst="rect">
            <a:avLst/>
          </a:prstGeom>
        </p:spPr>
      </p:pic>
      <p:sp>
        <p:nvSpPr>
          <p:cNvPr id="15" name="Прямоугольник 14"/>
          <p:cNvSpPr/>
          <p:nvPr userDrawn="1"/>
        </p:nvSpPr>
        <p:spPr>
          <a:xfrm>
            <a:off x="10685897" y="431497"/>
            <a:ext cx="112723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latin typeface="SB Sans Display Semibold" panose="020B0703040504020204" pitchFamily="34" charset="0"/>
                <a:cs typeface="SB Sans Display Semibold" panose="020B0703040504020204" pitchFamily="34" charset="0"/>
              </a:rPr>
              <a:t>SBER </a:t>
            </a:r>
            <a:r>
              <a:rPr lang="en-US" sz="1600" dirty="0" smtClean="0">
                <a:solidFill>
                  <a:srgbClr val="27A39C"/>
                </a:solidFill>
                <a:latin typeface="SB Sans Display Semibold" panose="020B0703040504020204" pitchFamily="34" charset="0"/>
                <a:cs typeface="SB Sans Display Semibold" panose="020B0703040504020204" pitchFamily="34" charset="0"/>
              </a:rPr>
              <a:t>PM</a:t>
            </a:r>
            <a:endParaRPr lang="ru-RU" sz="1600" dirty="0">
              <a:solidFill>
                <a:srgbClr val="27A39C"/>
              </a:solidFill>
            </a:endParaRPr>
          </a:p>
        </p:txBody>
      </p:sp>
      <p:pic>
        <p:nvPicPr>
          <p:cNvPr id="19" name="Рисунок 18" descr="http://197AE29371925D230213A26282C6B6B3.dms.sberbank.ru/197AE29371925D230213A26282C6B6B3-E1BBC32C842FB5D00B0141A041803294-2786911AE503A3DF594B6BD0507950DA/1.png"/>
          <p:cNvPicPr>
            <a:picLocks/>
          </p:cNvPicPr>
          <p:nvPr userDrawn="1"/>
        </p:nvPicPr>
        <p:blipFill>
          <a:blip r:link="rId4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20" name="Рисунок 19" descr="http://197AE29371925D230213A26282C6B6B3.dms.sberbank.ru/197AE29371925D230213A26282C6B6B3-E1BBC32C842FB5D00B0141A041803294-2786911AE503A3DF594B6BD0507950DA/1.png"/>
          <p:cNvPicPr>
            <a:picLocks/>
          </p:cNvPicPr>
          <p:nvPr userDrawn="1"/>
        </p:nvPicPr>
        <p:blipFill>
          <a:blip r:link="rId4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53955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2_Титульный слайд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034685" y="369887"/>
            <a:ext cx="9144000" cy="534987"/>
          </a:xfrm>
        </p:spPr>
        <p:txBody>
          <a:bodyPr anchor="b"/>
          <a:lstStyle>
            <a:lvl1pPr algn="l">
              <a:defRPr sz="2400" b="1">
                <a:solidFill>
                  <a:srgbClr val="27A39C"/>
                </a:solidFill>
                <a:latin typeface="SB Sans Display" panose="020B0503040504020204" pitchFamily="34" charset="0"/>
                <a:ea typeface="Tahoma" panose="020B0604030504040204" pitchFamily="34" charset="0"/>
                <a:cs typeface="SB Sans Display" panose="020B050304050402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014640" y="948167"/>
            <a:ext cx="5219701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latin typeface="SB Sans Display" panose="020B0503040504020204" pitchFamily="34" charset="0"/>
                <a:ea typeface="Tahoma" panose="020B0604030504040204" pitchFamily="34" charset="0"/>
                <a:cs typeface="SB Sans Display" panose="020B050304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9ACE828C-63CE-4942-AC8A-D02FBA47E37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437143" y="97667"/>
            <a:ext cx="573094" cy="544439"/>
          </a:xfrm>
          <a:prstGeom prst="rect">
            <a:avLst/>
          </a:prstGeom>
        </p:spPr>
      </p:pic>
      <p:sp>
        <p:nvSpPr>
          <p:cNvPr id="9" name="Прямоугольник 8"/>
          <p:cNvSpPr/>
          <p:nvPr userDrawn="1"/>
        </p:nvSpPr>
        <p:spPr>
          <a:xfrm>
            <a:off x="11277895" y="613231"/>
            <a:ext cx="89159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latin typeface="SB Sans Display Semibold" panose="020B0703040504020204" pitchFamily="34" charset="0"/>
                <a:cs typeface="SB Sans Display Semibold" panose="020B0703040504020204" pitchFamily="34" charset="0"/>
              </a:rPr>
              <a:t>SBER </a:t>
            </a:r>
            <a:r>
              <a:rPr lang="en-US" sz="1200" dirty="0" smtClean="0">
                <a:solidFill>
                  <a:srgbClr val="27A39C"/>
                </a:solidFill>
                <a:latin typeface="SB Sans Display Semibold" panose="020B0703040504020204" pitchFamily="34" charset="0"/>
                <a:cs typeface="SB Sans Display Semibold" panose="020B0703040504020204" pitchFamily="34" charset="0"/>
              </a:rPr>
              <a:t>PM</a:t>
            </a:r>
            <a:endParaRPr lang="ru-RU" sz="1200" dirty="0">
              <a:solidFill>
                <a:srgbClr val="27A39C"/>
              </a:solidFill>
            </a:endParaRPr>
          </a:p>
        </p:txBody>
      </p:sp>
      <p:sp>
        <p:nvSpPr>
          <p:cNvPr id="10" name="Прямоугольник с одним скругленным углом 9"/>
          <p:cNvSpPr/>
          <p:nvPr userDrawn="1"/>
        </p:nvSpPr>
        <p:spPr>
          <a:xfrm rot="10800000" flipV="1">
            <a:off x="11213370" y="904875"/>
            <a:ext cx="978630" cy="5953126"/>
          </a:xfrm>
          <a:prstGeom prst="round1Rect">
            <a:avLst>
              <a:gd name="adj" fmla="val 33199"/>
            </a:avLst>
          </a:prstGeom>
          <a:gradFill flip="none" rotWithShape="1">
            <a:gsLst>
              <a:gs pos="100000">
                <a:srgbClr val="179995"/>
              </a:gs>
              <a:gs pos="60000">
                <a:srgbClr val="1B56B2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49" name="Рисунок 14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782" r="59073"/>
          <a:stretch/>
        </p:blipFill>
        <p:spPr>
          <a:xfrm>
            <a:off x="11214100" y="1"/>
            <a:ext cx="977900" cy="6858000"/>
          </a:xfrm>
          <a:prstGeom prst="rect">
            <a:avLst/>
          </a:prstGeom>
        </p:spPr>
      </p:pic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249857" y="6356350"/>
            <a:ext cx="712497" cy="441283"/>
          </a:xfrm>
        </p:spPr>
        <p:txBody>
          <a:bodyPr/>
          <a:lstStyle>
            <a:lvl1pPr algn="ctr">
              <a:defRPr sz="14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DE4AC123-7006-4D4F-8CC3-04D69D072903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38" name="Рисунок 137" descr="http://197AE29371925D230213A26282C6B6B3.dms.sberbank.ru/197AE29371925D230213A26282C6B6B3-E1BBC32C842FB5D00B0141A041803294-8E0593C4B92A28F519390677A2482F7B/1.png"/>
          <p:cNvPicPr>
            <a:picLocks/>
          </p:cNvPicPr>
          <p:nvPr userDrawn="1"/>
        </p:nvPicPr>
        <p:blipFill>
          <a:blip r:link="rId4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42" name="Рисунок 141" descr="http://197AE29371925D230213A26282C6B6B3.dms.sberbank.ru/197AE29371925D230213A26282C6B6B3-E1BBC32C842FB5D00B0141A041803294-8E0593C4B92A28F519390677A2482F7B/1.png"/>
          <p:cNvPicPr>
            <a:picLocks/>
          </p:cNvPicPr>
          <p:nvPr userDrawn="1"/>
        </p:nvPicPr>
        <p:blipFill>
          <a:blip r:link="rId4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4" name="Рисунок 3" descr="http://197AE29371925D230213A26282C6B6B3.dms.sberbank.ru/197AE29371925D230213A26282C6B6B3-E1BBC32C842FB5D00B0141A041803294-8D50C9B624F1DF7A21B88D23FBB7119D/1.png"/>
          <p:cNvPicPr>
            <a:picLocks/>
          </p:cNvPicPr>
          <p:nvPr userDrawn="1"/>
        </p:nvPicPr>
        <p:blipFill>
          <a:blip r:link="rId5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5" name="Рисунок 4" descr="http://197AE29371925D230213A26282C6B6B3.dms.sberbank.ru/197AE29371925D230213A26282C6B6B3-E1BBC32C842FB5D00B0141A041803294-46081455960DEA0386613F7D135FE31B/1.png"/>
          <p:cNvPicPr>
            <a:picLocks/>
          </p:cNvPicPr>
          <p:nvPr userDrawn="1"/>
        </p:nvPicPr>
        <p:blipFill>
          <a:blip r:link="rId6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46051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Титульный слайд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с одним скругленным углом 11"/>
          <p:cNvSpPr/>
          <p:nvPr userDrawn="1"/>
        </p:nvSpPr>
        <p:spPr>
          <a:xfrm rot="10800000" flipV="1">
            <a:off x="6464" y="6126480"/>
            <a:ext cx="12185536" cy="731520"/>
          </a:xfrm>
          <a:prstGeom prst="round1Rect">
            <a:avLst>
              <a:gd name="adj" fmla="val 50000"/>
            </a:avLst>
          </a:prstGeom>
          <a:gradFill flip="none" rotWithShape="1">
            <a:gsLst>
              <a:gs pos="78000">
                <a:srgbClr val="179995"/>
              </a:gs>
              <a:gs pos="24000">
                <a:srgbClr val="1B56B2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/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38" t="1" b="58519"/>
          <a:stretch/>
        </p:blipFill>
        <p:spPr>
          <a:xfrm>
            <a:off x="0" y="3622379"/>
            <a:ext cx="6377214" cy="3215301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94" b="63216"/>
          <a:stretch/>
        </p:blipFill>
        <p:spPr>
          <a:xfrm flipH="1">
            <a:off x="5306576" y="3482679"/>
            <a:ext cx="6891887" cy="3365161"/>
          </a:xfrm>
          <a:prstGeom prst="rect">
            <a:avLst/>
          </a:prstGeom>
        </p:spPr>
      </p:pic>
      <p:grpSp>
        <p:nvGrpSpPr>
          <p:cNvPr id="7" name="Группа 6"/>
          <p:cNvGrpSpPr/>
          <p:nvPr userDrawn="1"/>
        </p:nvGrpSpPr>
        <p:grpSpPr>
          <a:xfrm>
            <a:off x="11215432" y="241140"/>
            <a:ext cx="891591" cy="792563"/>
            <a:chOff x="6714773" y="1038700"/>
            <a:chExt cx="891591" cy="792563"/>
          </a:xfrm>
        </p:grpSpPr>
        <p:pic>
          <p:nvPicPr>
            <p:cNvPr id="8" name="Рисунок 7">
              <a:extLst>
                <a:ext uri="{FF2B5EF4-FFF2-40B4-BE49-F238E27FC236}">
                  <a16:creationId xmlns:a16="http://schemas.microsoft.com/office/drawing/2014/main" id="{9ACE828C-63CE-4942-AC8A-D02FBA47E37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6874021" y="1038700"/>
              <a:ext cx="573094" cy="544439"/>
            </a:xfrm>
            <a:prstGeom prst="rect">
              <a:avLst/>
            </a:prstGeom>
          </p:spPr>
        </p:pic>
        <p:sp>
          <p:nvSpPr>
            <p:cNvPr id="11" name="Прямоугольник 10"/>
            <p:cNvSpPr/>
            <p:nvPr userDrawn="1"/>
          </p:nvSpPr>
          <p:spPr>
            <a:xfrm>
              <a:off x="6714773" y="1554264"/>
              <a:ext cx="891591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200" dirty="0">
                  <a:latin typeface="SB Sans Display Semibold" panose="020B0703040504020204" pitchFamily="34" charset="0"/>
                  <a:cs typeface="SB Sans Display Semibold" panose="020B0703040504020204" pitchFamily="34" charset="0"/>
                </a:rPr>
                <a:t>SBER </a:t>
              </a:r>
              <a:r>
                <a:rPr lang="en-US" sz="1200" dirty="0" smtClean="0">
                  <a:solidFill>
                    <a:srgbClr val="27A39C"/>
                  </a:solidFill>
                  <a:latin typeface="SB Sans Display Semibold" panose="020B0703040504020204" pitchFamily="34" charset="0"/>
                  <a:cs typeface="SB Sans Display Semibold" panose="020B0703040504020204" pitchFamily="34" charset="0"/>
                </a:rPr>
                <a:t>PM</a:t>
              </a:r>
              <a:endParaRPr lang="ru-RU" sz="1200" dirty="0">
                <a:solidFill>
                  <a:srgbClr val="27A39C"/>
                </a:solidFill>
              </a:endParaRPr>
            </a:p>
          </p:txBody>
        </p:sp>
      </p:grpSp>
      <p:pic>
        <p:nvPicPr>
          <p:cNvPr id="51" name="Рисунок 50" descr="http://197AE29371925D230213A26282C6B6B3.dms.sberbank.ru/197AE29371925D230213A26282C6B6B3-E1BBC32C842FB5D00B0141A041803294-2786911AE503A3DF594B6BD0507950DA/1.png"/>
          <p:cNvPicPr>
            <a:picLocks/>
          </p:cNvPicPr>
          <p:nvPr userDrawn="1"/>
        </p:nvPicPr>
        <p:blipFill>
          <a:blip r:link="rId5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52" name="Рисунок 51" descr="http://197AE29371925D230213A26282C6B6B3.dms.sberbank.ru/197AE29371925D230213A26282C6B6B3-E1BBC32C842FB5D00B0141A041803294-2786911AE503A3DF594B6BD0507950DA/1.png"/>
          <p:cNvPicPr>
            <a:picLocks/>
          </p:cNvPicPr>
          <p:nvPr userDrawn="1"/>
        </p:nvPicPr>
        <p:blipFill>
          <a:blip r:link="rId5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53" name="Рисунок 52" descr="http://197AE29371925D230213A26282C6B6B3.dms.sberbank.ru/197AE29371925D230213A26282C6B6B3-E1BBC32C842FB5D00B0141A041803294-2786911AE503A3DF594B6BD0507950DA/1.png"/>
          <p:cNvPicPr>
            <a:picLocks/>
          </p:cNvPicPr>
          <p:nvPr userDrawn="1"/>
        </p:nvPicPr>
        <p:blipFill>
          <a:blip r:link="rId5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54" name="Рисунок 53" descr="http://197AE29371925D230213A26282C6B6B3.dms.sberbank.ru/197AE29371925D230213A26282C6B6B3-E1BBC32C842FB5D00B0141A041803294-2786911AE503A3DF594B6BD0507950DA/1.png"/>
          <p:cNvPicPr>
            <a:picLocks/>
          </p:cNvPicPr>
          <p:nvPr userDrawn="1"/>
        </p:nvPicPr>
        <p:blipFill>
          <a:blip r:link="rId5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55" name="Рисунок 54" descr="http://197AE29371925D230213A26282C6B6B3.dms.sberbank.ru/197AE29371925D230213A26282C6B6B3-E1BBC32C842FB5D00B0141A041803294-2786911AE503A3DF594B6BD0507950DA/1.png"/>
          <p:cNvPicPr>
            <a:picLocks/>
          </p:cNvPicPr>
          <p:nvPr userDrawn="1"/>
        </p:nvPicPr>
        <p:blipFill>
          <a:blip r:link="rId5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56" name="Рисунок 55" descr="http://197AE29371925D230213A26282C6B6B3.dms.sberbank.ru/197AE29371925D230213A26282C6B6B3-E1BBC32C842FB5D00B0141A041803294-2786911AE503A3DF594B6BD0507950DA/1.png"/>
          <p:cNvPicPr>
            <a:picLocks/>
          </p:cNvPicPr>
          <p:nvPr userDrawn="1"/>
        </p:nvPicPr>
        <p:blipFill>
          <a:blip r:link="rId5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57" name="Рисунок 56" descr="http://197AE29371925D230213A26282C6B6B3.dms.sberbank.ru/197AE29371925D230213A26282C6B6B3-E1BBC32C842FB5D00B0141A041803294-2786911AE503A3DF594B6BD0507950DA/1.png"/>
          <p:cNvPicPr>
            <a:picLocks/>
          </p:cNvPicPr>
          <p:nvPr userDrawn="1"/>
        </p:nvPicPr>
        <p:blipFill>
          <a:blip r:link="rId5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77122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5E512CA4-A117-41AF-90D0-A21C68ED3A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8" name="Слайд think-cell" r:id="rId9" imgW="425" imgH="424" progId="TCLayout.ActiveDocument.1">
                  <p:embed/>
                </p:oleObj>
              </mc:Choice>
              <mc:Fallback>
                <p:oleObj name="Слайд think-cell" r:id="rId9" imgW="425" imgH="424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5E512CA4-A117-41AF-90D0-A21C68ED3A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id="{395D234B-C00C-479B-A404-1A5F20B168A8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Century Gothic" panose="020B0502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-1588" y="1587"/>
            <a:ext cx="12193588" cy="6859968"/>
            <a:chOff x="-1588" y="1587"/>
            <a:chExt cx="12193588" cy="6859968"/>
          </a:xfrm>
        </p:grpSpPr>
        <p:sp>
          <p:nvSpPr>
            <p:cNvPr id="21" name="Oval 20"/>
            <p:cNvSpPr/>
            <p:nvPr/>
          </p:nvSpPr>
          <p:spPr>
            <a:xfrm>
              <a:off x="8761412" y="18288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Oval 22"/>
            <p:cNvSpPr/>
            <p:nvPr/>
          </p:nvSpPr>
          <p:spPr>
            <a:xfrm>
              <a:off x="8761412" y="5870955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-1588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4" name="Freeform 5"/>
            <p:cNvSpPr/>
            <p:nvPr/>
          </p:nvSpPr>
          <p:spPr bwMode="gray">
            <a:xfrm rot="21010068">
              <a:off x="8490951" y="179751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27" name="Freeform 5"/>
            <p:cNvSpPr/>
            <p:nvPr/>
          </p:nvSpPr>
          <p:spPr bwMode="gray">
            <a:xfrm>
              <a:off x="459506" y="1866405"/>
              <a:ext cx="11277600" cy="4533900"/>
            </a:xfrm>
            <a:custGeom>
              <a:avLst/>
              <a:gdLst/>
              <a:ahLst/>
              <a:cxnLst/>
              <a:rect l="0" t="0" r="r" b="b"/>
              <a:pathLst>
                <a:path w="7104" h="2856">
                  <a:moveTo>
                    <a:pt x="0" y="0"/>
                  </a:moveTo>
                  <a:lnTo>
                    <a:pt x="0" y="2856"/>
                  </a:lnTo>
                  <a:lnTo>
                    <a:pt x="7104" y="2856"/>
                  </a:lnTo>
                  <a:lnTo>
                    <a:pt x="7104" y="1"/>
                  </a:lnTo>
                  <a:lnTo>
                    <a:pt x="7104" y="1"/>
                  </a:lnTo>
                  <a:lnTo>
                    <a:pt x="6943" y="26"/>
                  </a:lnTo>
                  <a:lnTo>
                    <a:pt x="6782" y="50"/>
                  </a:lnTo>
                  <a:lnTo>
                    <a:pt x="6621" y="73"/>
                  </a:lnTo>
                  <a:lnTo>
                    <a:pt x="6459" y="93"/>
                  </a:lnTo>
                  <a:lnTo>
                    <a:pt x="6298" y="113"/>
                  </a:lnTo>
                  <a:lnTo>
                    <a:pt x="6136" y="132"/>
                  </a:lnTo>
                  <a:lnTo>
                    <a:pt x="5976" y="148"/>
                  </a:lnTo>
                  <a:lnTo>
                    <a:pt x="5814" y="163"/>
                  </a:lnTo>
                  <a:lnTo>
                    <a:pt x="5653" y="177"/>
                  </a:lnTo>
                  <a:lnTo>
                    <a:pt x="5494" y="189"/>
                  </a:lnTo>
                  <a:lnTo>
                    <a:pt x="5334" y="201"/>
                  </a:lnTo>
                  <a:lnTo>
                    <a:pt x="5175" y="211"/>
                  </a:lnTo>
                  <a:lnTo>
                    <a:pt x="5017" y="219"/>
                  </a:lnTo>
                  <a:lnTo>
                    <a:pt x="4859" y="227"/>
                  </a:lnTo>
                  <a:lnTo>
                    <a:pt x="4703" y="234"/>
                  </a:lnTo>
                  <a:lnTo>
                    <a:pt x="4548" y="239"/>
                  </a:lnTo>
                  <a:lnTo>
                    <a:pt x="4393" y="243"/>
                  </a:lnTo>
                  <a:lnTo>
                    <a:pt x="4240" y="247"/>
                  </a:lnTo>
                  <a:lnTo>
                    <a:pt x="4088" y="249"/>
                  </a:lnTo>
                  <a:lnTo>
                    <a:pt x="3937" y="251"/>
                  </a:lnTo>
                  <a:lnTo>
                    <a:pt x="3788" y="252"/>
                  </a:lnTo>
                  <a:lnTo>
                    <a:pt x="3640" y="251"/>
                  </a:lnTo>
                  <a:lnTo>
                    <a:pt x="3494" y="251"/>
                  </a:lnTo>
                  <a:lnTo>
                    <a:pt x="3349" y="249"/>
                  </a:lnTo>
                  <a:lnTo>
                    <a:pt x="3207" y="246"/>
                  </a:lnTo>
                  <a:lnTo>
                    <a:pt x="3066" y="243"/>
                  </a:lnTo>
                  <a:lnTo>
                    <a:pt x="2928" y="240"/>
                  </a:lnTo>
                  <a:lnTo>
                    <a:pt x="2791" y="235"/>
                  </a:lnTo>
                  <a:lnTo>
                    <a:pt x="2656" y="230"/>
                  </a:lnTo>
                  <a:lnTo>
                    <a:pt x="2524" y="225"/>
                  </a:lnTo>
                  <a:lnTo>
                    <a:pt x="2266" y="212"/>
                  </a:lnTo>
                  <a:lnTo>
                    <a:pt x="2019" y="198"/>
                  </a:lnTo>
                  <a:lnTo>
                    <a:pt x="1782" y="183"/>
                  </a:lnTo>
                  <a:lnTo>
                    <a:pt x="1557" y="167"/>
                  </a:lnTo>
                  <a:lnTo>
                    <a:pt x="1343" y="150"/>
                  </a:lnTo>
                  <a:lnTo>
                    <a:pt x="1144" y="132"/>
                  </a:lnTo>
                  <a:lnTo>
                    <a:pt x="957" y="114"/>
                  </a:lnTo>
                  <a:lnTo>
                    <a:pt x="785" y="96"/>
                  </a:lnTo>
                  <a:lnTo>
                    <a:pt x="627" y="79"/>
                  </a:lnTo>
                  <a:lnTo>
                    <a:pt x="487" y="63"/>
                  </a:lnTo>
                  <a:lnTo>
                    <a:pt x="361" y="48"/>
                  </a:lnTo>
                  <a:lnTo>
                    <a:pt x="254" y="35"/>
                  </a:lnTo>
                  <a:lnTo>
                    <a:pt x="165" y="23"/>
                  </a:lnTo>
                  <a:lnTo>
                    <a:pt x="42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28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27BBB9A2-7BE2-4C5C-AAEC-07B53A728696}"/>
              </a:ext>
            </a:extLst>
          </p:cNvPr>
          <p:cNvSpPr txBox="1"/>
          <p:nvPr userDrawn="1"/>
        </p:nvSpPr>
        <p:spPr>
          <a:xfrm>
            <a:off x="6986049" y="6557048"/>
            <a:ext cx="517691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CC37E7C-B5BB-4CCD-9279-93DE0E828F29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5F9C9D">
                    <a:lumMod val="40000"/>
                    <a:lumOff val="6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Arial" pitchFamily="34" charset="0"/>
                <a:sym typeface="Webding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F9C9D">
                    <a:lumMod val="40000"/>
                    <a:lumOff val="6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Arial" pitchFamily="34" charset="0"/>
                <a:sym typeface="Webdings"/>
              </a:rPr>
              <a:t> 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5F9C9D">
                  <a:lumMod val="40000"/>
                  <a:lumOff val="6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10827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760" r:id="rId2"/>
    <p:sldLayoutId id="2147483759" r:id="rId3"/>
    <p:sldLayoutId id="2147483762" r:id="rId4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600" b="0" i="0" kern="1200">
          <a:solidFill>
            <a:schemeClr val="bg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11974" y="737756"/>
            <a:ext cx="1666702" cy="48421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ru-RU" sz="1400" b="1" dirty="0" smtClean="0"/>
              <a:t>Процесс</a:t>
            </a:r>
            <a:endParaRPr lang="ru-RU" sz="1400" b="1" dirty="0"/>
          </a:p>
        </p:txBody>
      </p:sp>
      <p:sp>
        <p:nvSpPr>
          <p:cNvPr id="4" name="TextBox 3"/>
          <p:cNvSpPr txBox="1"/>
          <p:nvPr/>
        </p:nvSpPr>
        <p:spPr>
          <a:xfrm>
            <a:off x="1995055" y="754381"/>
            <a:ext cx="9243751" cy="45096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ru-RU" sz="1400" dirty="0" smtClean="0"/>
              <a:t>Оплата счетов в моей компании – от момента как мы этот счет получили (эта стадия у нас автоматизирована) до успешной оплаты.</a:t>
            </a:r>
            <a:endParaRPr lang="ru-RU" sz="1400" dirty="0"/>
          </a:p>
        </p:txBody>
      </p:sp>
      <p:sp>
        <p:nvSpPr>
          <p:cNvPr id="5" name="TextBox 4"/>
          <p:cNvSpPr txBox="1"/>
          <p:nvPr/>
        </p:nvSpPr>
        <p:spPr>
          <a:xfrm>
            <a:off x="228600" y="1319647"/>
            <a:ext cx="1666702" cy="48421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ru-RU" sz="1400" b="1" dirty="0" smtClean="0"/>
              <a:t>Период</a:t>
            </a:r>
            <a:endParaRPr lang="ru-RU" sz="1400" b="1" dirty="0"/>
          </a:p>
        </p:txBody>
      </p:sp>
      <p:sp>
        <p:nvSpPr>
          <p:cNvPr id="6" name="TextBox 5"/>
          <p:cNvSpPr txBox="1"/>
          <p:nvPr/>
        </p:nvSpPr>
        <p:spPr>
          <a:xfrm>
            <a:off x="2011681" y="1336272"/>
            <a:ext cx="9243751" cy="70865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ru-RU" sz="1400" dirty="0" smtClean="0"/>
              <a:t>В среднем мы справляемся с оплатой примерно за неделю. Но в середине 2021 года мы сильно процесс поменяли – объединили в единый регламент все взаиморасчеты и некоторые процедуры упростили. Поэтому решили взять данные за год где-то с июля 2021.</a:t>
            </a:r>
            <a:endParaRPr lang="ru-RU" sz="1400" dirty="0"/>
          </a:p>
        </p:txBody>
      </p:sp>
      <p:sp>
        <p:nvSpPr>
          <p:cNvPr id="7" name="TextBox 6"/>
          <p:cNvSpPr txBox="1"/>
          <p:nvPr/>
        </p:nvSpPr>
        <p:spPr>
          <a:xfrm>
            <a:off x="295102" y="2042854"/>
            <a:ext cx="1666702" cy="48421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ru-RU" sz="1400" b="1" dirty="0" smtClean="0"/>
              <a:t>Данные</a:t>
            </a:r>
            <a:endParaRPr lang="ru-RU" sz="1400" b="1" dirty="0"/>
          </a:p>
        </p:txBody>
      </p:sp>
      <p:sp>
        <p:nvSpPr>
          <p:cNvPr id="8" name="TextBox 7"/>
          <p:cNvSpPr txBox="1"/>
          <p:nvPr/>
        </p:nvSpPr>
        <p:spPr>
          <a:xfrm>
            <a:off x="2078183" y="2059479"/>
            <a:ext cx="9243751" cy="55071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ru-RU" sz="1400" dirty="0" smtClean="0"/>
              <a:t>Мои ИТ-</a:t>
            </a:r>
            <a:r>
              <a:rPr lang="ru-RU" sz="1400" dirty="0" err="1" smtClean="0"/>
              <a:t>шники</a:t>
            </a:r>
            <a:r>
              <a:rPr lang="ru-RU" sz="1400" dirty="0" smtClean="0"/>
              <a:t> все подготовили, данные все есть. По-моему аналитики тоже уже что-то сделали, но это вы у них потом спросите.</a:t>
            </a:r>
            <a:endParaRPr lang="ru-RU" sz="1400" dirty="0"/>
          </a:p>
        </p:txBody>
      </p:sp>
      <p:sp>
        <p:nvSpPr>
          <p:cNvPr id="9" name="TextBox 8"/>
          <p:cNvSpPr txBox="1"/>
          <p:nvPr/>
        </p:nvSpPr>
        <p:spPr>
          <a:xfrm>
            <a:off x="328353" y="2608119"/>
            <a:ext cx="1666702" cy="48421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ru-RU" sz="1400" b="1" dirty="0" smtClean="0"/>
              <a:t>Цель</a:t>
            </a:r>
            <a:endParaRPr lang="ru-RU" sz="1400" b="1" dirty="0"/>
          </a:p>
        </p:txBody>
      </p:sp>
      <p:sp>
        <p:nvSpPr>
          <p:cNvPr id="10" name="TextBox 9"/>
          <p:cNvSpPr txBox="1"/>
          <p:nvPr/>
        </p:nvSpPr>
        <p:spPr>
          <a:xfrm>
            <a:off x="2111434" y="2624745"/>
            <a:ext cx="9243751" cy="114923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ru-RU" sz="1400" dirty="0" smtClean="0"/>
              <a:t>Глобально цель – разобраться в процессе. На данный момент у нас не очень все прозрачно. Мы сейчас как раз хотим выравнивать действия и понимание между отделами после объединения функции, поэтому все будет полезно.</a:t>
            </a:r>
          </a:p>
          <a:p>
            <a:r>
              <a:rPr lang="ru-RU" sz="1400" dirty="0" smtClean="0"/>
              <a:t>Но в первую очередь меня волнуют жалобы от поставщиков – нет-нет да звонит кто-нибудь в ярости, что счет не оплачивают. Судами грозят…</a:t>
            </a:r>
            <a:endParaRPr lang="ru-RU" sz="1400" dirty="0"/>
          </a:p>
        </p:txBody>
      </p:sp>
      <p:sp>
        <p:nvSpPr>
          <p:cNvPr id="11" name="TextBox 10"/>
          <p:cNvSpPr txBox="1"/>
          <p:nvPr/>
        </p:nvSpPr>
        <p:spPr>
          <a:xfrm>
            <a:off x="403168" y="3863341"/>
            <a:ext cx="1666702" cy="48421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ru-RU" sz="1400" b="1" dirty="0" smtClean="0"/>
              <a:t>Гипотезы</a:t>
            </a:r>
            <a:endParaRPr lang="ru-RU" sz="1400" b="1" dirty="0"/>
          </a:p>
        </p:txBody>
      </p:sp>
      <p:sp>
        <p:nvSpPr>
          <p:cNvPr id="12" name="TextBox 11"/>
          <p:cNvSpPr txBox="1"/>
          <p:nvPr/>
        </p:nvSpPr>
        <p:spPr>
          <a:xfrm>
            <a:off x="2186249" y="3879967"/>
            <a:ext cx="9243751" cy="193894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ru-RU" sz="1400" dirty="0" smtClean="0"/>
              <a:t>Где я вижу проблемные места? Несколько есть вариантов…</a:t>
            </a:r>
          </a:p>
          <a:p>
            <a:pPr marL="342900" indent="-342900">
              <a:buAutoNum type="arabicPeriod"/>
            </a:pPr>
            <a:r>
              <a:rPr lang="ru-RU" sz="1400" dirty="0" smtClean="0"/>
              <a:t>Возможно, не все счета доходят до оплаты</a:t>
            </a:r>
          </a:p>
          <a:p>
            <a:pPr marL="342900" indent="-342900">
              <a:buAutoNum type="arabicPeriod"/>
            </a:pPr>
            <a:r>
              <a:rPr lang="ru-RU" sz="1400" dirty="0" smtClean="0"/>
              <a:t>Когда сотрудников спрашиваю, почему тот или иной счет не оплачен – мне постоянно говорят про какие-то проверки, перепроверки и новые проверки. Что они там проверяют?</a:t>
            </a:r>
          </a:p>
          <a:p>
            <a:pPr marL="342900" indent="-342900">
              <a:buAutoNum type="arabicPeriod"/>
            </a:pPr>
            <a:r>
              <a:rPr lang="ru-RU" sz="1400" dirty="0" smtClean="0"/>
              <a:t>Есть подозрение, что сотрудники совершают в процессе какие-то лишние действия. </a:t>
            </a:r>
          </a:p>
          <a:p>
            <a:pPr marL="342900" indent="-342900">
              <a:buAutoNum type="arabicPeriod"/>
            </a:pP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42122911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800690" y="583239"/>
            <a:ext cx="6035723" cy="1199111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ru-RU" dirty="0" smtClean="0"/>
              <a:t>Не все счета успешно доходят до оплаты. Необходимо выяснить, где они останавливаются и почему</a:t>
            </a:r>
            <a:r>
              <a:rPr lang="en-US" dirty="0"/>
              <a:t>.</a:t>
            </a:r>
            <a:endParaRPr lang="ru-RU" dirty="0"/>
          </a:p>
        </p:txBody>
      </p:sp>
      <p:sp>
        <p:nvSpPr>
          <p:cNvPr id="16" name="TextBox 15"/>
          <p:cNvSpPr txBox="1"/>
          <p:nvPr/>
        </p:nvSpPr>
        <p:spPr>
          <a:xfrm>
            <a:off x="1801091" y="4387042"/>
            <a:ext cx="6034226" cy="123236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ru-RU" dirty="0" smtClean="0"/>
              <a:t>В процессе производятся излишние (повторные проверки). Определить причины повторов и излишние затраты времени на них</a:t>
            </a:r>
            <a:endParaRPr lang="ru-RU" dirty="0"/>
          </a:p>
        </p:txBody>
      </p:sp>
      <p:sp>
        <p:nvSpPr>
          <p:cNvPr id="17" name="TextBox 16"/>
          <p:cNvSpPr txBox="1"/>
          <p:nvPr/>
        </p:nvSpPr>
        <p:spPr>
          <a:xfrm>
            <a:off x="8242410" y="4351713"/>
            <a:ext cx="4754613" cy="130302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ru-RU" b="1" dirty="0" smtClean="0"/>
              <a:t>Дополнительная задача</a:t>
            </a:r>
            <a:endParaRPr lang="ru-RU" b="1" dirty="0"/>
          </a:p>
        </p:txBody>
      </p:sp>
      <p:sp>
        <p:nvSpPr>
          <p:cNvPr id="19" name="TextBox 18"/>
          <p:cNvSpPr txBox="1"/>
          <p:nvPr/>
        </p:nvSpPr>
        <p:spPr>
          <a:xfrm>
            <a:off x="1800690" y="2554821"/>
            <a:ext cx="6035723" cy="102038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ru-RU" dirty="0" smtClean="0"/>
              <a:t>Определить лишние операции в процессе, определить топ сотрудников, их совершающих и время, затраченное на эти действия</a:t>
            </a:r>
            <a:endParaRPr lang="ru-RU" dirty="0"/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7916961" y="525088"/>
            <a:ext cx="0" cy="5220000"/>
          </a:xfrm>
          <a:prstGeom prst="line">
            <a:avLst/>
          </a:prstGeom>
          <a:ln w="19050">
            <a:solidFill>
              <a:srgbClr val="1970A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 flipH="1" flipV="1">
            <a:off x="775161" y="2123905"/>
            <a:ext cx="10800000" cy="0"/>
          </a:xfrm>
          <a:prstGeom prst="line">
            <a:avLst/>
          </a:prstGeom>
          <a:ln w="19050">
            <a:solidFill>
              <a:srgbClr val="1970A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961678" y="582630"/>
            <a:ext cx="5715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200" dirty="0" smtClean="0">
                <a:solidFill>
                  <a:srgbClr val="00B050"/>
                </a:solidFill>
              </a:rPr>
              <a:t>1</a:t>
            </a:r>
            <a:endParaRPr lang="ru-RU" sz="7200" dirty="0">
              <a:solidFill>
                <a:srgbClr val="00B050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961678" y="2464850"/>
            <a:ext cx="5715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200" dirty="0"/>
              <a:t>2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961678" y="4403059"/>
            <a:ext cx="5715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200" dirty="0" smtClean="0"/>
              <a:t>3</a:t>
            </a:r>
            <a:endParaRPr lang="ru-RU" sz="7200" dirty="0"/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 flipH="1" flipV="1">
            <a:off x="791786" y="4034119"/>
            <a:ext cx="10800000" cy="0"/>
          </a:xfrm>
          <a:prstGeom prst="line">
            <a:avLst/>
          </a:prstGeom>
          <a:ln w="19050">
            <a:solidFill>
              <a:srgbClr val="1970A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8242410" y="2413504"/>
            <a:ext cx="4754613" cy="130302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ru-RU" b="1" dirty="0" smtClean="0"/>
              <a:t>Дополнительная задача</a:t>
            </a:r>
            <a:endParaRPr lang="ru-RU" b="1" dirty="0"/>
          </a:p>
        </p:txBody>
      </p:sp>
      <p:sp>
        <p:nvSpPr>
          <p:cNvPr id="18" name="TextBox 17"/>
          <p:cNvSpPr txBox="1"/>
          <p:nvPr/>
        </p:nvSpPr>
        <p:spPr>
          <a:xfrm>
            <a:off x="8242410" y="583239"/>
            <a:ext cx="3226030" cy="1199111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ru-RU" b="1" dirty="0" smtClean="0">
                <a:solidFill>
                  <a:srgbClr val="00B050"/>
                </a:solidFill>
              </a:rPr>
              <a:t>Основная задача</a:t>
            </a:r>
            <a:endParaRPr lang="ru-RU" b="1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5951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sKUPUWLQNrgWspQLZBv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Совет директоров">
  <a:themeElements>
    <a:clrScheme name="Ion Boardroom">
      <a:dk1>
        <a:sysClr val="windowText" lastClr="000000"/>
      </a:dk1>
      <a:lt1>
        <a:sysClr val="window" lastClr="FFFFFF"/>
      </a:lt1>
      <a:dk2>
        <a:srgbClr val="1E5155"/>
      </a:dk2>
      <a:lt2>
        <a:srgbClr val="EBEBEB"/>
      </a:lt2>
      <a:accent1>
        <a:srgbClr val="B01513"/>
      </a:accent1>
      <a:accent2>
        <a:srgbClr val="EA6312"/>
      </a:accent2>
      <a:accent3>
        <a:srgbClr val="E6B729"/>
      </a:accent3>
      <a:accent4>
        <a:srgbClr val="6AAC90"/>
      </a:accent4>
      <a:accent5>
        <a:srgbClr val="5F9C9D"/>
      </a:accent5>
      <a:accent6>
        <a:srgbClr val="9E5E9B"/>
      </a:accent6>
      <a:hlink>
        <a:srgbClr val="58C1BA"/>
      </a:hlink>
      <a:folHlink>
        <a:srgbClr val="9DFFCB"/>
      </a:folHlink>
    </a:clrScheme>
    <a:fontScheme name="Ion Boardroom">
      <a:maj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Ion Boardroom">
      <a:fillStyleLst>
        <a:solidFill>
          <a:schemeClr val="phClr"/>
        </a:solidFill>
        <a:gradFill rotWithShape="1">
          <a:gsLst>
            <a:gs pos="0">
              <a:schemeClr val="phClr">
                <a:tint val="64000"/>
                <a:lumMod val="118000"/>
              </a:schemeClr>
            </a:gs>
            <a:gs pos="100000">
              <a:schemeClr val="phClr">
                <a:tint val="92000"/>
                <a:alpha val="100000"/>
                <a:lumMod val="11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14000"/>
              </a:schemeClr>
            </a:gs>
            <a:gs pos="100000">
              <a:schemeClr val="phClr">
                <a:shade val="90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7000"/>
                <a:hueMod val="88000"/>
                <a:satMod val="130000"/>
                <a:lumMod val="124000"/>
              </a:schemeClr>
            </a:gs>
            <a:gs pos="100000">
              <a:schemeClr val="phClr">
                <a:tint val="96000"/>
                <a:shade val="88000"/>
                <a:hueMod val="108000"/>
                <a:satMod val="164000"/>
                <a:lumMod val="7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9000"/>
                <a:hueMod val="108000"/>
                <a:satMod val="164000"/>
                <a:lumMod val="74000"/>
              </a:schemeClr>
              <a:schemeClr val="phClr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on Boardroom" id="{FC33163D-4339-46B1-8EED-24C834239D99}" vid="{EC7F02AD-9687-440F-A9DF-FAA6F22270D7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9241</TotalTime>
  <Words>278</Words>
  <Application>Microsoft Office PowerPoint</Application>
  <PresentationFormat>Широкоэкранный</PresentationFormat>
  <Paragraphs>23</Paragraphs>
  <Slides>2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12" baseType="lpstr">
      <vt:lpstr>Arial</vt:lpstr>
      <vt:lpstr>Calibri</vt:lpstr>
      <vt:lpstr>Century Gothic</vt:lpstr>
      <vt:lpstr>SB Sans Display</vt:lpstr>
      <vt:lpstr>SB Sans Display Semibold</vt:lpstr>
      <vt:lpstr>Tahoma</vt:lpstr>
      <vt:lpstr>Webdings</vt:lpstr>
      <vt:lpstr>Wingdings 3</vt:lpstr>
      <vt:lpstr>Совет директоров</vt:lpstr>
      <vt:lpstr>Слайд think-cell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Пользователь Windows</dc:creator>
  <cp:lastModifiedBy>Железцов Никита Дмитриевич</cp:lastModifiedBy>
  <cp:revision>1262</cp:revision>
  <cp:lastPrinted>2022-11-28T12:13:58Z</cp:lastPrinted>
  <dcterms:created xsi:type="dcterms:W3CDTF">2020-10-15T16:41:36Z</dcterms:created>
  <dcterms:modified xsi:type="dcterms:W3CDTF">2023-10-20T18:09:54Z</dcterms:modified>
</cp:coreProperties>
</file>